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5"/>
  </p:notesMasterIdLst>
  <p:sldIdLst>
    <p:sldId id="366" r:id="rId2"/>
    <p:sldId id="367" r:id="rId3"/>
    <p:sldId id="376" r:id="rId4"/>
    <p:sldId id="377" r:id="rId5"/>
    <p:sldId id="375" r:id="rId6"/>
    <p:sldId id="378" r:id="rId7"/>
    <p:sldId id="374" r:id="rId8"/>
    <p:sldId id="369" r:id="rId9"/>
    <p:sldId id="370" r:id="rId10"/>
    <p:sldId id="371" r:id="rId11"/>
    <p:sldId id="372" r:id="rId12"/>
    <p:sldId id="373" r:id="rId13"/>
    <p:sldId id="368" r:id="rId14"/>
  </p:sldIdLst>
  <p:sldSz cx="12192000" cy="6858000"/>
  <p:notesSz cx="6858000" cy="9144000"/>
  <p:embeddedFontLst>
    <p:embeddedFont>
      <p:font typeface="Rubik" panose="00000500000000000000" pitchFamily="50" charset="-79"/>
      <p:regular r:id="rId16"/>
      <p:bold r:id="rId17"/>
      <p:italic r:id="rId18"/>
    </p:embeddedFont>
    <p:embeddedFont>
      <p:font typeface="Trebuchet MS" panose="020B060302020202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023" autoAdjust="0"/>
    <p:restoredTop sz="94660"/>
  </p:normalViewPr>
  <p:slideViewPr>
    <p:cSldViewPr showGuides="1">
      <p:cViewPr varScale="1">
        <p:scale>
          <a:sx n="112" d="100"/>
          <a:sy n="112" d="100"/>
        </p:scale>
        <p:origin x="1182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zoho.com/in/book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zoho.com/books/api/v3/#introduction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Logo, company name&#10;&#10;Description automatically generated">
            <a:extLst>
              <a:ext uri="{FF2B5EF4-FFF2-40B4-BE49-F238E27FC236}">
                <a16:creationId xmlns:a16="http://schemas.microsoft.com/office/drawing/2014/main" id="{DBC9CD7D-8C7E-4CCD-BD18-5E7C7C420CD6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>
            <a:fillRect/>
          </a:stretch>
        </p:blipFill>
        <p:spPr>
          <a:xfrm>
            <a:off x="983432" y="1268237"/>
            <a:ext cx="1631504" cy="917721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ZOHO Books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71840" y="3717032"/>
            <a:ext cx="6300224" cy="388989"/>
          </a:xfrm>
        </p:spPr>
        <p:txBody>
          <a:bodyPr/>
          <a:lstStyle/>
          <a:p>
            <a:r>
              <a:rPr lang="en-US" dirty="0"/>
              <a:t>Connector to </a:t>
            </a:r>
            <a:r>
              <a:rPr lang="en-US" dirty="0" err="1"/>
              <a:t>Zoho</a:t>
            </a:r>
            <a:r>
              <a:rPr lang="en-US" dirty="0"/>
              <a:t> Online Accounting Softwa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sz="1200" b="1" dirty="0"/>
              <a:t>Vageesh Shadakshari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1EE845F7-3FE6-422A-A16B-2E102E378A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53" y="759496"/>
            <a:ext cx="1756383" cy="175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086587-FFCE-405F-BDA1-ADE1411A9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B1FAC4-6E35-40F6-BCDE-674A7CBD4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E5B66F-5A0C-4C10-A242-AC9410640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Invo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F442423-B1E1-4750-89BA-CCF925BA4AD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Flow and In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49F0F6-3E4C-43AA-8AAC-028DFE50D0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A43AC2-F730-42CF-AE9D-FDE390918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396A9174-8E4F-4118-A1AB-DFBE35F6206E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282240" y="1371921"/>
            <a:ext cx="5795132" cy="3265661"/>
          </a:xfr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32F783C-FF7F-4360-B358-81B58FBD3B2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1D8C08-AAFE-4DF0-9F15-BEBDAB618A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3200" y="1358613"/>
            <a:ext cx="5637213" cy="3174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8800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5C66DA-D497-4B35-8AA5-EE6292801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E796A8-5AF6-4D13-91CD-89A8EC1F5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B32D6E-4A34-4256-A03D-95B85239C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 Invo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6B78CC1-62C3-45BE-8A6A-A660399ADB0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Input pipeline and out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763C2-FFB9-41FA-B848-0818DE275C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F442F8-4C72-4AA7-A271-DEF3FD8D50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23FC9E-C3B4-4D87-B443-9B357C22CD8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4A9B38E-71D1-47BD-B50D-465B7EACD5F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146A15-97AC-43BE-AF54-8033BFCCE8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3200" y="1129330"/>
            <a:ext cx="5735811" cy="307775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273CC32-1FDA-4C54-9DDF-FDF8C43680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700" y="2378515"/>
            <a:ext cx="5542012" cy="733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0562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4CBD-179C-4B63-A651-8A502FA9D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51A362-C750-4486-A87A-2F397DC20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539F9D-13A5-40E3-BA1D-5B28DEB9B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ete Invo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1A35CAE-2202-4C2C-94D3-981223967F21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Input pipeline and output</a:t>
            </a:r>
            <a:endParaRPr lang="en-IN" dirty="0"/>
          </a:p>
          <a:p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2C217A-ADDD-4376-8C37-14C6F36BB8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6C779A-972E-4E80-9B1B-2D594B34D6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F0FEB76-A479-4F2D-B3C7-71ADCC00F0A5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3963E5F-875E-440C-A29D-EF72A8B490E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F841F3-7AFA-4219-B37E-229BB4ACA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250" y="1988840"/>
            <a:ext cx="5963312" cy="172155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548EB3D-5DE6-46FA-AC98-D5821138CA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37" y="1483913"/>
            <a:ext cx="5637214" cy="244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691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ho</a:t>
            </a:r>
            <a:r>
              <a:rPr lang="en-US" dirty="0"/>
              <a:t> Boo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Online Accounting Softwa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oho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i="0" dirty="0" err="1">
                <a:solidFill>
                  <a:srgbClr val="24292F"/>
                </a:solidFill>
                <a:effectLst/>
                <a:latin typeface="-apple-system"/>
              </a:rPr>
              <a:t>Zoho</a:t>
            </a:r>
            <a:r>
              <a:rPr lang="en-US" i="0" dirty="0">
                <a:solidFill>
                  <a:srgbClr val="24292F"/>
                </a:solidFill>
                <a:effectLst/>
                <a:latin typeface="-apple-system"/>
              </a:rPr>
              <a:t> Books is an online accounting software that manages your finances, keeps you GST compliant, automates business workflows, and helps you work collectively across departments</a:t>
            </a:r>
            <a:r>
              <a:rPr lang="en-US" b="1" i="0" dirty="0">
                <a:solidFill>
                  <a:srgbClr val="24292F"/>
                </a:solidFill>
                <a:effectLst/>
                <a:latin typeface="-apple-system"/>
              </a:rPr>
              <a:t>.</a:t>
            </a:r>
          </a:p>
          <a:p>
            <a:endParaRPr lang="en-US" dirty="0"/>
          </a:p>
          <a:p>
            <a:r>
              <a:rPr lang="en-US" dirty="0"/>
              <a:t>The Connector is built for handling Invoices operations on </a:t>
            </a:r>
            <a:r>
              <a:rPr lang="en-US" dirty="0" err="1"/>
              <a:t>Zoho</a:t>
            </a:r>
            <a:r>
              <a:rPr lang="en-US" dirty="0"/>
              <a:t> Books.</a:t>
            </a:r>
          </a:p>
          <a:p>
            <a:r>
              <a:rPr lang="en-US" dirty="0"/>
              <a:t>Operations teams of any organization uses multiple systems, processes and manual steps in Sales activities. All these systems can use the connector to interact with </a:t>
            </a:r>
            <a:r>
              <a:rPr lang="en-US" dirty="0" err="1"/>
              <a:t>Zoho</a:t>
            </a:r>
            <a:r>
              <a:rPr lang="en-US" dirty="0"/>
              <a:t> Books to create, update, delete, read the invoices. </a:t>
            </a:r>
          </a:p>
          <a:p>
            <a:r>
              <a:rPr lang="en-US" dirty="0"/>
              <a:t>This helps in automating manual efforts of Entering and Managing Invoices on </a:t>
            </a:r>
            <a:r>
              <a:rPr lang="en-US" dirty="0" err="1"/>
              <a:t>Zoho</a:t>
            </a:r>
            <a:r>
              <a:rPr lang="en-US" dirty="0"/>
              <a:t> Books Accounting app.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www.zoho.com/in/books/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AE372-8A48-45B3-883A-E8CDC3671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and Documentation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C7EF99-CE59-47C5-8B1C-D5C7EB9BB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71F83-92D0-47EB-8307-934BB2F86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F1CAD88-97BC-4D81-B807-D1A7D018E1A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API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A53CE3-EF57-4AE0-974E-F0B50705F4B1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I docs: </a:t>
            </a:r>
            <a:r>
              <a:rPr lang="en-US" dirty="0">
                <a:hlinkClick r:id="rId2"/>
              </a:rPr>
              <a:t>https://www.zoho.com/books/api/v3/#introductio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Zoho</a:t>
            </a:r>
            <a:r>
              <a:rPr lang="en-US" dirty="0"/>
              <a:t> Books provides numerous APIs to interact with it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has multiple modules each containing more 10 methods, totally more than 200 methods, following are the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voices,</a:t>
            </a:r>
            <a:r>
              <a:rPr lang="en-IN" dirty="0"/>
              <a:t>Contacts, Expenses, Bills, Credit Notes, Debit Notes, Customer payments, Bank Accounts, Vendor Payments etc.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820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CDE16-245C-4C10-9FFF-8FDB14E8C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FCF67F-D2BF-4AEC-AF06-7E785CD99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7DA5F9-51F7-4002-A8ED-71ECFDE576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F4E6B64-CBB1-4B97-B851-26C6890B435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OAuth 2.0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D5E9AB-1765-4AE6-AD62-72BEF5F836E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 err="1"/>
              <a:t>Zoho</a:t>
            </a:r>
            <a:r>
              <a:rPr lang="en-US" dirty="0"/>
              <a:t> Books supports OAuth 2.0</a:t>
            </a:r>
          </a:p>
          <a:p>
            <a:r>
              <a:rPr lang="en-US" dirty="0"/>
              <a:t>Prerequisites – a </a:t>
            </a:r>
            <a:r>
              <a:rPr lang="en-US" dirty="0" err="1"/>
              <a:t>Zoho</a:t>
            </a:r>
            <a:r>
              <a:rPr lang="en-US" dirty="0"/>
              <a:t> Account (14 day trial period available)</a:t>
            </a:r>
          </a:p>
          <a:p>
            <a:r>
              <a:rPr lang="en-US" dirty="0" err="1"/>
              <a:t>Zoho</a:t>
            </a:r>
            <a:r>
              <a:rPr lang="en-US" dirty="0"/>
              <a:t> has 4 Datacenters across the globe, we should explicitly enable the account across all datacenters.</a:t>
            </a:r>
          </a:p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8044BB-2B85-44A6-B480-54511B4BFC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831" y="3072963"/>
            <a:ext cx="4301678" cy="33703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2D9D1FF-30E8-4FFB-989C-1468C8154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9268" y="3065569"/>
            <a:ext cx="4508450" cy="379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85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7BDD2-639A-4212-8F2C-A0CEB7488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ho</a:t>
            </a:r>
            <a:r>
              <a:rPr lang="en-US" dirty="0"/>
              <a:t> Books Invoic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61AEEF-8EDD-4CE4-BA70-B25A08841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699162-C68C-4A4E-9D24-B7B2741B8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9EAC3BE-426F-478B-B3F0-255C99181C69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D0CB5DC8-6293-4FD2-8BC4-2FA8F6DAF8D3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543678" y="1583849"/>
            <a:ext cx="10395901" cy="4665663"/>
          </a:xfrm>
        </p:spPr>
      </p:pic>
    </p:spTree>
    <p:extLst>
      <p:ext uri="{BB962C8B-B14F-4D97-AF65-F5344CB8AC3E}">
        <p14:creationId xmlns:p14="http://schemas.microsoft.com/office/powerpoint/2010/main" val="4287552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0C76C4-7834-499F-9B13-E0D7E3B16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or Action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105FD9-AEC7-4C13-AFD6-251110CE93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ACCD61-5A60-4B19-A4BE-34E17BE12F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B2D0D25-80A5-4268-8A45-30C5E3A23BE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CRUD on Invoices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07D638-D150-4C9B-894C-0BB6C5D4EC6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This connector is built with Actions for CRUD operations on Invoices mo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st Invo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t Invoice (for </a:t>
            </a:r>
            <a:r>
              <a:rPr lang="en-US" dirty="0" err="1"/>
              <a:t>invoice_id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 Invo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e Invo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ete Invoice</a:t>
            </a: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AAE27F-16FB-46C7-8442-8A1D46578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5429" y="2132856"/>
            <a:ext cx="6883871" cy="381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6123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8AC78-7EB6-4555-8A61-1649CB982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A4600D-A5A0-457B-8E14-14411ACFC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9C357-5E60-4D67-B98C-37B650503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154B8A-932F-45E4-8A50-FC16255A8FD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F3CC18-EEB6-4206-BC5B-A697257B917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Workflow location</a:t>
            </a:r>
            <a:r>
              <a:rPr lang="en-US"/>
              <a:t>: https://wmioconnectorsdev.int-az-us.webmethods.io/#/projects/fl5c79f1df6f5f5a0610e6a2/workflow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17993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IN" dirty="0"/>
              <a:t>Screenshots List Invoices</a:t>
            </a:r>
            <a:endParaRPr lang="en-IN"/>
          </a:p>
        </p:txBody>
      </p:sp>
      <p:sp>
        <p:nvSpPr>
          <p:cNvPr id="13" name="Subtitle 4">
            <a:extLst>
              <a:ext uri="{FF2B5EF4-FFF2-40B4-BE49-F238E27FC236}">
                <a16:creationId xmlns:a16="http://schemas.microsoft.com/office/drawing/2014/main" id="{D3449B22-9C2A-4D85-87B5-A74E4ACB34F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r>
              <a:rPr lang="en-US" dirty="0"/>
              <a:t>Flow and Inpu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A8A2CB2-978F-43B0-BB19-A8F082D056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C1F349A-17F1-4E6A-B1F9-1052C9E5BA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5CDB3B2-A8E4-4CA3-8538-0639C0B44A5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361200" y="1642778"/>
            <a:ext cx="5637213" cy="2212606"/>
          </a:xfrm>
          <a:noFill/>
        </p:spPr>
      </p:pic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C5E18DD2-6DEC-45E1-B730-5E022EA0A6A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1387800"/>
            <a:ext cx="5637213" cy="2722563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F0961D-D656-4F90-8B4D-FD808C217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940" y="1387800"/>
            <a:ext cx="5717359" cy="320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7FFC6C9-FF7D-4109-8288-85FC29629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7C2CC9-65B0-4ABE-8A88-E40E806B4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E9BB7C-4594-4566-9A9E-FDAFCF92C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Invoices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C925EA6-EE13-424E-BFA2-BCFB6F5DBA7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Output and Output Pipeline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7A13DC-FE93-48A9-BE24-3D04404E67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EE7004-7046-4F5E-B2D1-AA4A818E3F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46D915-07D1-4C3D-B91E-C72D1B721320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F3B296-03AD-467B-9114-2DD6B82DA93E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7F69E1C-9F0E-488B-BA1D-775FA1C928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200" y="1227192"/>
            <a:ext cx="4288135" cy="48259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2C8C882-558F-4EE0-B49C-EF0255176F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7646" y="1625700"/>
            <a:ext cx="6712099" cy="371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116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597</Words>
  <Application>Microsoft Office PowerPoint</Application>
  <PresentationFormat>Widescreen</PresentationFormat>
  <Paragraphs>75</Paragraphs>
  <Slides>1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Rubik</vt:lpstr>
      <vt:lpstr>Wingdings</vt:lpstr>
      <vt:lpstr>Arial</vt:lpstr>
      <vt:lpstr>Symbol</vt:lpstr>
      <vt:lpstr>-apple-system</vt:lpstr>
      <vt:lpstr>Trebuchet MS</vt:lpstr>
      <vt:lpstr>Software AG 2021</vt:lpstr>
      <vt:lpstr>ZOHO Books Provider</vt:lpstr>
      <vt:lpstr>Zoho Books</vt:lpstr>
      <vt:lpstr>API and Documentation</vt:lpstr>
      <vt:lpstr>Auth</vt:lpstr>
      <vt:lpstr>Zoho Books Invoice</vt:lpstr>
      <vt:lpstr>Connector Actions</vt:lpstr>
      <vt:lpstr>Workflows</vt:lpstr>
      <vt:lpstr>Screenshots List Invoices</vt:lpstr>
      <vt:lpstr>List Invoices</vt:lpstr>
      <vt:lpstr>Create Invoice</vt:lpstr>
      <vt:lpstr>Update Invoice</vt:lpstr>
      <vt:lpstr>Delete Invoice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Shadakshari, Vageesh</cp:lastModifiedBy>
  <cp:revision>20</cp:revision>
  <dcterms:created xsi:type="dcterms:W3CDTF">2022-01-10T12:32:13Z</dcterms:created>
  <dcterms:modified xsi:type="dcterms:W3CDTF">2022-01-31T05:51:32Z</dcterms:modified>
</cp:coreProperties>
</file>